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1059" r:id="rId2"/>
    <p:sldId id="1091" r:id="rId3"/>
    <p:sldId id="1092" r:id="rId4"/>
    <p:sldId id="1101" r:id="rId5"/>
    <p:sldId id="1102" r:id="rId6"/>
    <p:sldId id="1103" r:id="rId7"/>
    <p:sldId id="1104" r:id="rId8"/>
    <p:sldId id="993" r:id="rId9"/>
  </p:sldIdLst>
  <p:sldSz cx="9144000" cy="6858000" type="screen4x3"/>
  <p:notesSz cx="6797675" cy="9926638"/>
  <p:defaultTextStyle>
    <a:defPPr>
      <a:defRPr lang="pl-P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75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2341" userDrawn="1">
          <p15:clr>
            <a:srgbClr val="A4A3A4"/>
          </p15:clr>
        </p15:guide>
        <p15:guide id="4" pos="3152" userDrawn="1">
          <p15:clr>
            <a:srgbClr val="A4A3A4"/>
          </p15:clr>
        </p15:guide>
        <p15:guide id="5" pos="26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9ED"/>
    <a:srgbClr val="073872"/>
    <a:srgbClr val="CCCCFF"/>
    <a:srgbClr val="CCFFCC"/>
    <a:srgbClr val="FFCCCC"/>
    <a:srgbClr val="CCECFF"/>
    <a:srgbClr val="C9A6E4"/>
    <a:srgbClr val="000000"/>
    <a:srgbClr val="00A249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Styl jasny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4" autoAdjust="0"/>
    <p:restoredTop sz="94424" autoAdjust="0"/>
  </p:normalViewPr>
  <p:slideViewPr>
    <p:cSldViewPr>
      <p:cViewPr varScale="1">
        <p:scale>
          <a:sx n="110" d="100"/>
          <a:sy n="110" d="100"/>
        </p:scale>
        <p:origin x="-1644" y="-90"/>
      </p:cViewPr>
      <p:guideLst>
        <p:guide orient="horz" pos="2750"/>
        <p:guide orient="horz" pos="2341"/>
        <p:guide pos="2880"/>
        <p:guide pos="3152"/>
        <p:guide pos="26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6" d="100"/>
          <a:sy n="76" d="100"/>
        </p:scale>
        <p:origin x="2184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2671B2-1F51-449B-BDC3-4477CCD8D26A}" type="datetimeFigureOut">
              <a:rPr lang="pl-PL" smtClean="0"/>
              <a:t>11.01.2018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C9632E-0CCD-4098-8E9D-DDE369AF8EC2}" type="slidenum">
              <a:rPr lang="pl-PL" smtClean="0">
                <a:latin typeface="Arial" panose="020B0604020202020204" pitchFamily="34" charset="0"/>
              </a:rPr>
              <a:t>‹#›</a:t>
            </a:fld>
            <a:endParaRPr lang="pl-PL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08350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73" cy="496652"/>
          </a:xfrm>
          <a:prstGeom prst="rect">
            <a:avLst/>
          </a:prstGeom>
        </p:spPr>
        <p:txBody>
          <a:bodyPr vert="horz" lIns="91762" tIns="45880" rIns="91762" bIns="4588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200" y="1"/>
            <a:ext cx="2945873" cy="496652"/>
          </a:xfrm>
          <a:prstGeom prst="rect">
            <a:avLst/>
          </a:prstGeom>
        </p:spPr>
        <p:txBody>
          <a:bodyPr vert="horz" lIns="91762" tIns="45880" rIns="91762" bIns="4588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D04F905-0FDC-4F9F-ADCF-A934B6369FFB}" type="datetimeFigureOut">
              <a:rPr lang="pl-PL"/>
              <a:pPr>
                <a:defRPr/>
              </a:pPr>
              <a:t>11.01.2018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62" tIns="45880" rIns="91762" bIns="4588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5796"/>
            <a:ext cx="5438783" cy="4466667"/>
          </a:xfrm>
          <a:prstGeom prst="rect">
            <a:avLst/>
          </a:prstGeom>
        </p:spPr>
        <p:txBody>
          <a:bodyPr vert="horz" lIns="91762" tIns="45880" rIns="91762" bIns="45880" rtlCol="0"/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  <a:endParaRPr lang="pl-PL" noProof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4" y="9428391"/>
            <a:ext cx="2945873" cy="496652"/>
          </a:xfrm>
          <a:prstGeom prst="rect">
            <a:avLst/>
          </a:prstGeom>
        </p:spPr>
        <p:txBody>
          <a:bodyPr vert="horz" lIns="91762" tIns="45880" rIns="91762" bIns="4588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200" y="9428391"/>
            <a:ext cx="2945873" cy="496652"/>
          </a:xfrm>
          <a:prstGeom prst="rect">
            <a:avLst/>
          </a:prstGeom>
        </p:spPr>
        <p:txBody>
          <a:bodyPr vert="horz" wrap="square" lIns="91762" tIns="45880" rIns="91762" bIns="4588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489729A0-C39F-4610-89F5-919CA2BA7F7B}" type="slidenum">
              <a:rPr lang="pl-PL" altLang="pl-PL"/>
              <a:pPr/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2299350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9729A0-C39F-4610-89F5-919CA2BA7F7B}" type="slidenum">
              <a:rPr lang="pl-PL" altLang="pl-PL" smtClean="0"/>
              <a:pPr/>
              <a:t>2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679652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9729A0-C39F-4610-89F5-919CA2BA7F7B}" type="slidenum">
              <a:rPr lang="pl-PL" altLang="pl-PL" smtClean="0"/>
              <a:pPr/>
              <a:t>8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509630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67512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F2EEB9D0-DD8A-48F4-9D4B-E52FA77D773E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1184275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420892"/>
            <a:ext cx="8229600" cy="370527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9878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BF4559E1-8D3B-4D6E-A8C9-FE23B50DCE48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5868144" y="1340768"/>
            <a:ext cx="2520280" cy="478539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1" y="1340768"/>
            <a:ext cx="5050904" cy="4785395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346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CA7BD72A-08A4-444F-9008-F45D0762DD9B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pic>
        <p:nvPicPr>
          <p:cNvPr id="4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6827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204471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1030075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1979737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042174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4235681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2636817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947295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ole tekstowe 2"/>
          <p:cNvSpPr txBox="1">
            <a:spLocks noChangeArrowheads="1"/>
          </p:cNvSpPr>
          <p:nvPr userDrawn="1"/>
        </p:nvSpPr>
        <p:spPr bwMode="auto">
          <a:xfrm>
            <a:off x="8423275" y="6627168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63E4E26-CB77-4C2A-8558-42E157C773D6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 dirty="0">
              <a:latin typeface="Arial" panose="020B0604020202020204" pitchFamily="34" charset="0"/>
            </a:endParaRPr>
          </a:p>
        </p:txBody>
      </p:sp>
      <p:pic>
        <p:nvPicPr>
          <p:cNvPr id="4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5501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20630597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/>
              <a:t>‹#›</a:t>
            </a:fld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16020467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2243817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9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Obraz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4551" y="260350"/>
            <a:ext cx="2374900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ole tekstowe 3"/>
          <p:cNvSpPr txBox="1"/>
          <p:nvPr userDrawn="1"/>
        </p:nvSpPr>
        <p:spPr>
          <a:xfrm>
            <a:off x="2627314" y="692150"/>
            <a:ext cx="3887787" cy="21005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765" i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Zarządca narodowej sieci linii kolejowych</a:t>
            </a:r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22836F-A0E0-4B51-8EA2-4154D1EA3589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457200" y="890588"/>
            <a:ext cx="8229600" cy="773112"/>
          </a:xfrm>
          <a:prstGeom prst="rect">
            <a:avLst/>
          </a:prstGeom>
        </p:spPr>
        <p:txBody>
          <a:bodyPr/>
          <a:lstStyle>
            <a:lvl1pPr>
              <a:defRPr sz="1800" b="1">
                <a:solidFill>
                  <a:srgbClr val="00206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63702"/>
            <a:ext cx="8229600" cy="4462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>
                <a:latin typeface="Arial" pitchFamily="34" charset="0"/>
                <a:cs typeface="Arial" pitchFamily="34" charset="0"/>
              </a:defRPr>
            </a:lvl1pPr>
            <a:lvl2pPr marL="557213" indent="-214313">
              <a:buClrTx/>
              <a:buFont typeface="Arial" pitchFamily="34" charset="0"/>
              <a:buChar char="•"/>
              <a:defRPr sz="1200">
                <a:latin typeface="Arial" pitchFamily="34" charset="0"/>
                <a:cs typeface="Arial" pitchFamily="34" charset="0"/>
              </a:defRPr>
            </a:lvl2pPr>
            <a:lvl3pPr marL="857250" indent="-171450">
              <a:buClrTx/>
              <a:buFont typeface="Wingdings" pitchFamily="2" charset="2"/>
              <a:buChar char="Ø"/>
              <a:defRPr sz="1200">
                <a:latin typeface="Arial" pitchFamily="34" charset="0"/>
                <a:cs typeface="Arial" pitchFamily="34" charset="0"/>
              </a:defRPr>
            </a:lvl3pPr>
            <a:lvl4pPr>
              <a:buClrTx/>
              <a:defRPr sz="1050">
                <a:latin typeface="Arial" pitchFamily="34" charset="0"/>
                <a:cs typeface="Arial" pitchFamily="34" charset="0"/>
              </a:defRPr>
            </a:lvl4pPr>
            <a:lvl5pPr>
              <a:defRPr sz="1050">
                <a:latin typeface="Arial" pitchFamily="34" charset="0"/>
                <a:cs typeface="Arial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751244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539750" y="1268760"/>
            <a:ext cx="8147050" cy="93610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8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Tytuł slajdu możesz zmniejszyć do 16pp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 hasCustomPrompt="1"/>
          </p:nvPr>
        </p:nvSpPr>
        <p:spPr>
          <a:xfrm>
            <a:off x="539750" y="2276475"/>
            <a:ext cx="8136706" cy="3849688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 smtClean="0"/>
              <a:t>Najmniejsza dozwolona czcionka w treści slajdu to 10pp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8DFF09A-599E-4916-ABF1-64C1E362DABF}" type="slidenum">
              <a:rPr lang="pl-PL" smtClean="0"/>
              <a:t>‹#›</a:t>
            </a:fld>
            <a:endParaRPr lang="pl-PL" dirty="0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9373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ole tekstowe 4"/>
          <p:cNvSpPr txBox="1">
            <a:spLocks noChangeArrowheads="1"/>
          </p:cNvSpPr>
          <p:nvPr userDrawn="1"/>
        </p:nvSpPr>
        <p:spPr bwMode="auto">
          <a:xfrm>
            <a:off x="8388001" y="6624000"/>
            <a:ext cx="720725" cy="19620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063E4E26-CB77-4C2A-8558-42E157C773D6}" type="slidenum">
              <a:rPr lang="pl-PL" altLang="pl-PL" sz="675">
                <a:solidFill>
                  <a:prstClr val="black"/>
                </a:solidFill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675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0382877"/>
      </p:ext>
    </p:extLst>
  </p:cSld>
  <p:clrMapOvr>
    <a:masterClrMapping/>
  </p:clrMapOvr>
  <p:transition spd="med">
    <p:pull dir="u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ajd tytuł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>
            <a:spLocks noChangeArrowheads="1"/>
          </p:cNvSpPr>
          <p:nvPr userDrawn="1"/>
        </p:nvSpPr>
        <p:spPr bwMode="auto">
          <a:xfrm>
            <a:off x="8458201" y="6627795"/>
            <a:ext cx="685800" cy="2308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C65D6B22-40EC-4F7E-9F7E-EC5BF1A99D40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 dirty="0">
              <a:latin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Kliknij, aby edytować styl wzorca podtytułu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87238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E5DE9DCF-71EF-4CDE-87D3-4B4FEDB41795}" type="slidenum">
              <a:rPr lang="pl-PL" altLang="pl-PL" sz="900" smtClean="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 dirty="0">
              <a:latin typeface="Arial" panose="020B0604020202020204" pitchFamily="34" charset="0"/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2780932"/>
            <a:ext cx="8229600" cy="334523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9" name="Tytuł 1"/>
          <p:cNvSpPr>
            <a:spLocks noGrp="1"/>
          </p:cNvSpPr>
          <p:nvPr>
            <p:ph type="ctrTitle"/>
          </p:nvPr>
        </p:nvSpPr>
        <p:spPr>
          <a:xfrm>
            <a:off x="467544" y="1200153"/>
            <a:ext cx="8208912" cy="1470025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931052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ole tekstowe 5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29C06E57-8157-4913-BD01-8018F8AF6B72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82892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ole tekstowe 6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88FD0D78-0C7F-42DE-B283-06B4364C6902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915225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ównan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az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ole tekstowe 8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73289C53-C8BF-4ED9-A515-6463176F93B8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4040188" cy="69009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7" y="1484784"/>
            <a:ext cx="4041775" cy="690091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11943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ole tekstowe 6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7568477-6B07-45EC-B106-1A353FFA41BC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67545" y="1700808"/>
            <a:ext cx="3008313" cy="454372"/>
          </a:xfrm>
          <a:prstGeom prst="rect">
            <a:avLst/>
          </a:prstGeom>
        </p:spPr>
        <p:txBody>
          <a:bodyPr anchor="b"/>
          <a:lstStyle>
            <a:lvl1pPr algn="l">
              <a:defRPr sz="135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2" y="1700809"/>
            <a:ext cx="5111750" cy="4425355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1" y="2204864"/>
            <a:ext cx="3008313" cy="39212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19558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250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ole tekstowe 6"/>
          <p:cNvSpPr txBox="1">
            <a:spLocks noChangeArrowheads="1"/>
          </p:cNvSpPr>
          <p:nvPr userDrawn="1"/>
        </p:nvSpPr>
        <p:spPr bwMode="auto">
          <a:xfrm>
            <a:off x="8172451" y="6381751"/>
            <a:ext cx="720725" cy="23083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A762814E-24A7-4F19-A29A-8A542582BB10}" type="slidenum">
              <a:rPr lang="pl-PL" altLang="pl-PL" sz="900">
                <a:latin typeface="Arial" panose="020B0604020202020204" pitchFamily="34" charset="0"/>
              </a:rPr>
              <a:pPr algn="r" eaLnBrk="1" hangingPunct="1"/>
              <a:t>‹#›</a:t>
            </a:fld>
            <a:endParaRPr lang="pl-PL" altLang="pl-PL" sz="900">
              <a:latin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1196755"/>
            <a:ext cx="5486400" cy="3530823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15397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90852" r:id="rId1"/>
    <p:sldLayoutId id="2147490856" r:id="rId2"/>
    <p:sldLayoutId id="2147490857" r:id="rId3"/>
    <p:sldLayoutId id="2147490858" r:id="rId4"/>
    <p:sldLayoutId id="2147490859" r:id="rId5"/>
    <p:sldLayoutId id="2147490860" r:id="rId6"/>
    <p:sldLayoutId id="2147490861" r:id="rId7"/>
    <p:sldLayoutId id="2147490862" r:id="rId8"/>
    <p:sldLayoutId id="2147490863" r:id="rId9"/>
    <p:sldLayoutId id="2147490864" r:id="rId10"/>
    <p:sldLayoutId id="2147490865" r:id="rId11"/>
    <p:sldLayoutId id="2147490866" r:id="rId12"/>
    <p:sldLayoutId id="2147490899" r:id="rId13"/>
    <p:sldLayoutId id="2147490900" r:id="rId14"/>
    <p:sldLayoutId id="2147490901" r:id="rId15"/>
    <p:sldLayoutId id="2147490902" r:id="rId16"/>
    <p:sldLayoutId id="2147490903" r:id="rId17"/>
    <p:sldLayoutId id="2147490904" r:id="rId18"/>
    <p:sldLayoutId id="2147490905" r:id="rId19"/>
    <p:sldLayoutId id="2147490906" r:id="rId20"/>
    <p:sldLayoutId id="2147490907" r:id="rId21"/>
    <p:sldLayoutId id="2147490973" r:id="rId22"/>
    <p:sldLayoutId id="2147490974" r:id="rId23"/>
    <p:sldLayoutId id="2147491386" r:id="rId24"/>
    <p:sldLayoutId id="2147491393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lk-sa.pl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plk-sa.pl/typo3temp/_processed_/csm_20151204_113808_685522001a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02"/>
          <a:stretch/>
        </p:blipFill>
        <p:spPr bwMode="auto">
          <a:xfrm>
            <a:off x="611560" y="44624"/>
            <a:ext cx="8532440" cy="4295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Obraz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65"/>
            <a:ext cx="91440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pole tekstowe 5"/>
          <p:cNvSpPr txBox="1">
            <a:spLocks noChangeArrowheads="1"/>
          </p:cNvSpPr>
          <p:nvPr/>
        </p:nvSpPr>
        <p:spPr bwMode="auto">
          <a:xfrm>
            <a:off x="3024993" y="4501539"/>
            <a:ext cx="435531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l-PL" altLang="pl-PL" b="1" dirty="0" smtClean="0">
                <a:latin typeface="Arial" panose="020B0604020202020204" pitchFamily="34" charset="0"/>
              </a:rPr>
              <a:t>Forum Inwestycyjne</a:t>
            </a:r>
            <a:endParaRPr lang="pl-PL" altLang="pl-PL" b="1" dirty="0">
              <a:latin typeface="Arial" panose="020B0604020202020204" pitchFamily="34" charset="0"/>
            </a:endParaRPr>
          </a:p>
        </p:txBody>
      </p:sp>
      <p:sp>
        <p:nvSpPr>
          <p:cNvPr id="11268" name="pole tekstowe 6"/>
          <p:cNvSpPr txBox="1">
            <a:spLocks noChangeArrowheads="1"/>
          </p:cNvSpPr>
          <p:nvPr/>
        </p:nvSpPr>
        <p:spPr bwMode="auto">
          <a:xfrm>
            <a:off x="3456061" y="5347048"/>
            <a:ext cx="349220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l-PL" altLang="pl-PL" sz="1800" dirty="0" smtClean="0">
                <a:latin typeface="Arial" panose="020B0604020202020204" pitchFamily="34" charset="0"/>
              </a:rPr>
              <a:t>Warszawa, 11 stycznia 2018 </a:t>
            </a:r>
            <a:r>
              <a:rPr lang="pl-PL" altLang="pl-PL" sz="1800" dirty="0">
                <a:latin typeface="Arial" panose="020B0604020202020204" pitchFamily="34" charset="0"/>
              </a:rPr>
              <a:t>r.</a:t>
            </a:r>
          </a:p>
        </p:txBody>
      </p:sp>
      <p:pic>
        <p:nvPicPr>
          <p:cNvPr id="11269" name="Obraz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8" y="260350"/>
            <a:ext cx="15113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a 6"/>
          <p:cNvGrpSpPr/>
          <p:nvPr/>
        </p:nvGrpSpPr>
        <p:grpSpPr>
          <a:xfrm>
            <a:off x="2267744" y="6093296"/>
            <a:ext cx="5710674" cy="471956"/>
            <a:chOff x="2267744" y="5715487"/>
            <a:chExt cx="5710674" cy="471956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9" name="Prostokąt 8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239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31640" y="4906981"/>
            <a:ext cx="6400800" cy="1080120"/>
          </a:xfrm>
        </p:spPr>
        <p:txBody>
          <a:bodyPr/>
          <a:lstStyle/>
          <a:p>
            <a:r>
              <a:rPr lang="pl-PL" sz="1600" b="1" dirty="0" smtClean="0">
                <a:solidFill>
                  <a:srgbClr val="00B050"/>
                </a:solidFill>
              </a:rPr>
              <a:t>Oszczędności w ramach podpisanych umów 5 mld PLN</a:t>
            </a:r>
            <a:endParaRPr lang="pl-PL" sz="1600" b="1" dirty="0">
              <a:solidFill>
                <a:srgbClr val="00B050"/>
              </a:solidFill>
            </a:endParaRPr>
          </a:p>
        </p:txBody>
      </p:sp>
      <p:sp>
        <p:nvSpPr>
          <p:cNvPr id="4" name="pole tekstowe 3"/>
          <p:cNvSpPr txBox="1"/>
          <p:nvPr/>
        </p:nvSpPr>
        <p:spPr>
          <a:xfrm>
            <a:off x="2123728" y="188640"/>
            <a:ext cx="30406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Przetargi 2017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4587284"/>
              </p:ext>
            </p:extLst>
          </p:nvPr>
        </p:nvGraphicFramePr>
        <p:xfrm>
          <a:off x="467544" y="1364314"/>
          <a:ext cx="8374645" cy="33608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79467"/>
                <a:gridCol w="2226297"/>
                <a:gridCol w="3468881"/>
              </a:tblGrid>
              <a:tr h="88245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ępowania o udzielenie zamówień publicznych w 2017 r. </a:t>
                      </a:r>
                      <a:endParaRPr lang="pl-PL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738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60616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pl-PL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lość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acunkowa wartość zamówienia (netto PLN) / wartość zamówienia (netto PLN)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008112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ępowania ogłoszone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0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</a:t>
                      </a:r>
                      <a:r>
                        <a:rPr lang="pl-PL" sz="14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ld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</a:tr>
              <a:tr h="864096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owy podpisane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2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6</a:t>
                      </a:r>
                      <a:r>
                        <a:rPr lang="pl-PL" sz="14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ld </a:t>
                      </a:r>
                      <a:r>
                        <a:rPr lang="pl-PL" sz="1400" b="0" i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rtość zamówień (netto PLN)</a:t>
                      </a:r>
                    </a:p>
                    <a:p>
                      <a:pPr algn="ctr" fontAlgn="ctr"/>
                      <a:r>
                        <a:rPr lang="pl-PL" sz="14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,6 mld </a:t>
                      </a:r>
                      <a:r>
                        <a:rPr lang="pl-PL" sz="1400" b="0" i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acunkowa wartość zamówień </a:t>
                      </a:r>
                      <a:endParaRPr lang="pl-PL" sz="1400" b="0" i="1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Symbol zastępczy stopki 1"/>
          <p:cNvSpPr txBox="1">
            <a:spLocks/>
          </p:cNvSpPr>
          <p:nvPr/>
        </p:nvSpPr>
        <p:spPr>
          <a:xfrm>
            <a:off x="2843808" y="5348026"/>
            <a:ext cx="2814923" cy="250688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pl-PL" sz="800" i="1" dirty="0" smtClean="0">
                <a:solidFill>
                  <a:prstClr val="black"/>
                </a:solidFill>
                <a:latin typeface="Arial"/>
              </a:rPr>
              <a:t>Źródło: Raport agregujący dane z rejestru Harmonogramu przetargów EPM z dnia 04-01-2018</a:t>
            </a:r>
            <a:endParaRPr lang="pl-PL" sz="800" i="1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7" name="Grupa 6"/>
          <p:cNvGrpSpPr/>
          <p:nvPr/>
        </p:nvGrpSpPr>
        <p:grpSpPr>
          <a:xfrm>
            <a:off x="1676703" y="5974200"/>
            <a:ext cx="5710674" cy="471956"/>
            <a:chOff x="2267744" y="5715487"/>
            <a:chExt cx="5710674" cy="471956"/>
          </a:xfrm>
        </p:grpSpPr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10" name="Prostokąt 9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811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11560" y="1124744"/>
            <a:ext cx="8280920" cy="4725210"/>
          </a:xfrm>
        </p:spPr>
        <p:txBody>
          <a:bodyPr/>
          <a:lstStyle/>
          <a:p>
            <a:pPr algn="l"/>
            <a:endParaRPr lang="pl-PL" sz="1100" dirty="0"/>
          </a:p>
        </p:txBody>
      </p:sp>
      <p:sp>
        <p:nvSpPr>
          <p:cNvPr id="4" name="pole tekstowe 3"/>
          <p:cNvSpPr txBox="1"/>
          <p:nvPr/>
        </p:nvSpPr>
        <p:spPr>
          <a:xfrm>
            <a:off x="2123728" y="188640"/>
            <a:ext cx="30406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Przetargi 2018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663519"/>
              </p:ext>
            </p:extLst>
          </p:nvPr>
        </p:nvGraphicFramePr>
        <p:xfrm>
          <a:off x="611560" y="1124746"/>
          <a:ext cx="8280920" cy="4725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4838"/>
                <a:gridCol w="2207105"/>
                <a:gridCol w="3438977"/>
              </a:tblGrid>
              <a:tr h="658004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pl-PL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ępowania o udzielenie zamówień publicznych w </a:t>
                      </a:r>
                      <a:r>
                        <a:rPr lang="pl-PL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r</a:t>
                      </a:r>
                      <a:r>
                        <a:rPr lang="pl-PL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</a:txBody>
                  <a:tcPr marL="9525" marR="9525" marT="9525" marB="0" anchor="ctr">
                    <a:solidFill>
                      <a:srgbClr val="07387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620754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lość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acunkowa wartość zamówienia (netto </a:t>
                      </a:r>
                      <a:r>
                        <a:rPr lang="pl-PL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 mld PLN)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2144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ępowania planowane do ogłoszenia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3</a:t>
                      </a:r>
                      <a:endParaRPr lang="pl-PL" sz="16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</a:t>
                      </a:r>
                      <a:endParaRPr lang="pl-PL" sz="16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</a:tr>
              <a:tr h="310377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i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 tym: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81711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</a:t>
                      </a:r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owlane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6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</a:tr>
              <a:tr h="56829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kumentacja </a:t>
                      </a:r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dprojektowa i projektowa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11827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dzór inwestorski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e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pl-PL" sz="14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0754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mowy planowane do podpisania </a:t>
                      </a:r>
                      <a:endParaRPr lang="pl-PL" sz="14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0</a:t>
                      </a:r>
                      <a:endParaRPr lang="pl-PL" sz="16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0</a:t>
                      </a:r>
                      <a:endParaRPr lang="pl-PL" sz="16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9ED"/>
                    </a:solidFill>
                  </a:tcPr>
                </a:tc>
              </a:tr>
            </a:tbl>
          </a:graphicData>
        </a:graphic>
      </p:graphicFrame>
      <p:sp>
        <p:nvSpPr>
          <p:cNvPr id="7" name="Symbol zastępczy stopki 1"/>
          <p:cNvSpPr txBox="1">
            <a:spLocks/>
          </p:cNvSpPr>
          <p:nvPr/>
        </p:nvSpPr>
        <p:spPr>
          <a:xfrm>
            <a:off x="3131840" y="5849954"/>
            <a:ext cx="2814923" cy="33265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pl-PL" sz="800" i="1" dirty="0" smtClean="0">
                <a:solidFill>
                  <a:prstClr val="black"/>
                </a:solidFill>
                <a:latin typeface="Arial"/>
              </a:rPr>
              <a:t>Źródło: Raport agregujący dane z rejestru Harmonogramu przetargów EPM z dnia 04-01-2018</a:t>
            </a:r>
            <a:endParaRPr lang="pl-PL" sz="800" i="1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6" name="Grupa 5"/>
          <p:cNvGrpSpPr/>
          <p:nvPr/>
        </p:nvGrpSpPr>
        <p:grpSpPr>
          <a:xfrm>
            <a:off x="1683964" y="6262838"/>
            <a:ext cx="5710674" cy="471956"/>
            <a:chOff x="2267744" y="5715487"/>
            <a:chExt cx="5710674" cy="471956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9" name="Prostokąt 8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62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 3"/>
          <p:cNvGrpSpPr/>
          <p:nvPr/>
        </p:nvGrpSpPr>
        <p:grpSpPr>
          <a:xfrm>
            <a:off x="1835696" y="6341420"/>
            <a:ext cx="5710674" cy="471956"/>
            <a:chOff x="2267744" y="5715487"/>
            <a:chExt cx="5710674" cy="471956"/>
          </a:xfrm>
        </p:grpSpPr>
        <p:pic>
          <p:nvPicPr>
            <p:cNvPr id="5" name="Obraz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6" name="Prostokąt 5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599286"/>
              </p:ext>
            </p:extLst>
          </p:nvPr>
        </p:nvGraphicFramePr>
        <p:xfrm>
          <a:off x="179512" y="1916832"/>
          <a:ext cx="8712968" cy="3672251"/>
        </p:xfrm>
        <a:graphic>
          <a:graphicData uri="http://schemas.openxmlformats.org/drawingml/2006/table">
            <a:tbl>
              <a:tblPr/>
              <a:tblGrid>
                <a:gridCol w="345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867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925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27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p.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zamówienia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zacunkowa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artość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mld PLN)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yp 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8613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linii E 75 na odcinku Czyżew – Białystok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ykonanie robót budowlanych na odcinku Czyżew-Białystok od km 107,260 do km 178,500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392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rawa dostępu kolejowego do portu morskiego w Gdyni" </a:t>
                      </a: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budowlane dla projektu "Poprawa dostępu kolejowego do portu morskiego w Gdyni"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2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rawa infrastruktury kolejowego dostępu do portu Gdańsk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budowlane na linii 226 i stacji Gdańsk Port Północny </a:t>
                      </a:r>
                      <a:b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az linii 965 i stacji Gdańsk Kanał Kaszubski w ramach projektu "Poprawa dostępu kolejowego do portu Gdańsk„</a:t>
                      </a:r>
                    </a:p>
                    <a:p>
                      <a:pPr marL="0" marR="0" lvl="0" indent="0" algn="l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budowlane na linii 227/249 i stacji Gdańsk Zaspa Towarowa oraz Linii 722 i stacji Gdańsk Wiślany w ramach projektu "Poprawa dostępu kolejowego do portu Gdańsk"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392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rawa dostępu kolejowego do portów morskich w Szczecinie i Świnoujściu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budowlane na stacji Szczecin Port Centralny oraz Świnoujście w ramach projektu pn. "Poprawa dostępu kolejowego do portów morskich w Szczecinie i Świnoujściu" - Port Szczecin </a:t>
                      </a:r>
                      <a:b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Port Świnoujści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pole tekstowe 7"/>
          <p:cNvSpPr txBox="1"/>
          <p:nvPr/>
        </p:nvSpPr>
        <p:spPr>
          <a:xfrm>
            <a:off x="2123728" y="188640"/>
            <a:ext cx="30406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Przetargi 2018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107504" y="1391336"/>
            <a:ext cx="8712968" cy="35580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Kluczowe postępowania przetargowe planowane do ogłoszenia w roku </a:t>
            </a:r>
            <a:r>
              <a:rPr lang="pl-PL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18</a:t>
            </a:r>
            <a:endParaRPr lang="pl-PL" sz="1600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7511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 3"/>
          <p:cNvGrpSpPr/>
          <p:nvPr/>
        </p:nvGrpSpPr>
        <p:grpSpPr>
          <a:xfrm>
            <a:off x="1835696" y="6341420"/>
            <a:ext cx="5710674" cy="471956"/>
            <a:chOff x="2267744" y="5715487"/>
            <a:chExt cx="5710674" cy="471956"/>
          </a:xfrm>
        </p:grpSpPr>
        <p:pic>
          <p:nvPicPr>
            <p:cNvPr id="5" name="Obraz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6" name="Prostokąt 5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  <p:sp>
        <p:nvSpPr>
          <p:cNvPr id="8" name="Prostokąt 7"/>
          <p:cNvSpPr/>
          <p:nvPr/>
        </p:nvSpPr>
        <p:spPr>
          <a:xfrm>
            <a:off x="26474" y="1264123"/>
            <a:ext cx="8712968" cy="35580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Kluczowe postępowania przetargowe planowane do ogłoszenia w roku </a:t>
            </a:r>
            <a:r>
              <a:rPr lang="pl-PL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018</a:t>
            </a:r>
            <a:endParaRPr lang="pl-PL" sz="1600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Prostokąt 9"/>
          <p:cNvSpPr/>
          <p:nvPr/>
        </p:nvSpPr>
        <p:spPr>
          <a:xfrm>
            <a:off x="107504" y="5064022"/>
            <a:ext cx="89699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b="1" dirty="0">
                <a:solidFill>
                  <a:srgbClr val="FF0000"/>
                </a:solidFill>
              </a:rPr>
              <a:t>Plan postępowań na 2018 r. zostanie umieszczony na stronie </a:t>
            </a:r>
            <a:r>
              <a:rPr lang="pl-PL" b="1" dirty="0">
                <a:solidFill>
                  <a:srgbClr val="FF0000"/>
                </a:solidFill>
                <a:hlinkClick r:id="rId3"/>
              </a:rPr>
              <a:t>www.plk-sa.pl</a:t>
            </a:r>
            <a:r>
              <a:rPr lang="pl-PL" b="1" dirty="0">
                <a:solidFill>
                  <a:srgbClr val="FF0000"/>
                </a:solidFill>
              </a:rPr>
              <a:t> </a:t>
            </a:r>
            <a:endParaRPr lang="pl-PL" dirty="0"/>
          </a:p>
        </p:txBody>
      </p:sp>
      <p:sp>
        <p:nvSpPr>
          <p:cNvPr id="11" name="pole tekstowe 10"/>
          <p:cNvSpPr txBox="1"/>
          <p:nvPr/>
        </p:nvSpPr>
        <p:spPr>
          <a:xfrm>
            <a:off x="2123728" y="188640"/>
            <a:ext cx="30406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Przetargi 2018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5970633"/>
              </p:ext>
            </p:extLst>
          </p:nvPr>
        </p:nvGraphicFramePr>
        <p:xfrm>
          <a:off x="217651" y="1897922"/>
          <a:ext cx="8749680" cy="2888104"/>
        </p:xfrm>
        <a:graphic>
          <a:graphicData uri="http://schemas.openxmlformats.org/drawingml/2006/table">
            <a:tbl>
              <a:tblPr/>
              <a:tblGrid>
                <a:gridCol w="345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867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79146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8989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27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p.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zamówienia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zacunkowa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artość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mld PLN)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yp 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92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podstawowych ciągach pasażerskich (E 30 i E 65) na obszarze Śląska, etap I: linia E 65 na odc. Będzin – Katowice – Tychy – Czechowice Dziedzice – Zebrzydowice, LOT C odcinek Most Wisła – Czechowice Dziedzic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T C Wykonanie robót budowlanych na odcinku Most Wisła - Czechowice Dziedzice - Zabrzeg dla projektu Prace na E 30 i E 65 na obszarze Śląska, etap I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65163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linii średnicowej w Warszawie na odcinku Warszawa Wschodnia – Warszawa Zachodnia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ykonanie robót - Warszawa Zachodnia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65163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linii kolejowej E59 na odcinku Poznań Główny -  Szczecin Dąbi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zebudowę układów torowych wraz z infrastruktura towarzyszącą linii kolejowej E 59 odcinek Rokietnica - Wronki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504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 3"/>
          <p:cNvGrpSpPr/>
          <p:nvPr/>
        </p:nvGrpSpPr>
        <p:grpSpPr>
          <a:xfrm>
            <a:off x="1835696" y="6309320"/>
            <a:ext cx="5710674" cy="471956"/>
            <a:chOff x="2267744" y="5715487"/>
            <a:chExt cx="5710674" cy="471956"/>
          </a:xfrm>
        </p:grpSpPr>
        <p:pic>
          <p:nvPicPr>
            <p:cNvPr id="5" name="Obraz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6" name="Prostokąt 5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072819"/>
              </p:ext>
            </p:extLst>
          </p:nvPr>
        </p:nvGraphicFramePr>
        <p:xfrm>
          <a:off x="233772" y="1400958"/>
          <a:ext cx="8676456" cy="4783003"/>
        </p:xfrm>
        <a:graphic>
          <a:graphicData uri="http://schemas.openxmlformats.org/drawingml/2006/table">
            <a:tbl>
              <a:tblPr/>
              <a:tblGrid>
                <a:gridCol w="3521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4759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6724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p.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zamówienia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zacunkowa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artość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mld PLN)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yp 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05653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dowa infrastruktury systemu ERTMS/GSM-R na liniach kolejowych PKP Polskie Linie Kolejowe S.A. </a:t>
                      </a:r>
                      <a:b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 ramach NPW ERTMS</a:t>
                      </a:r>
                      <a:endParaRPr lang="pl-PL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drożenie systemu GSM-R w ramach projektu: Budowa infrastruktury systemu ERTMS/GSM-R na liniach kolejowych PKP Polskie Linie Kolejowe S.A. w ramach NPW ERTMS</a:t>
                      </a:r>
                      <a:endParaRPr lang="pl-PL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1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stawa</a:t>
                      </a:r>
                      <a:r>
                        <a:rPr lang="pl-PL" sz="10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9773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ace na linii kolejowej C-E 65 na </a:t>
                      </a:r>
                      <a:r>
                        <a:rPr lang="pl-PL" sz="10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dc</a:t>
                      </a:r>
                      <a:r>
                        <a:rPr lang="pl-PL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horzów Batory - Tarnowskie Góry - Karsznice - Inowrocław - Bydgoszcz - Maksymilianow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zacja robót budowlanych w trybie P&amp;B - "Prace na linii kolejowej C-E 65 na odc. Herby Nowe – Rusiec Łódzki" w ramach projektu "Prace na linii kolejowej C-E 65 na </a:t>
                      </a:r>
                      <a:r>
                        <a:rPr lang="pl-PL" sz="10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dc</a:t>
                      </a:r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horzów Batory - Tarnowskie Góry - Karsznice - Inowrocław - Bydgoszcz - Maksymilianowo" </a:t>
                      </a:r>
                      <a:endParaRPr lang="pl-PL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ktuj i Buduj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39773">
                <a:tc vMerge="1">
                  <a:txBody>
                    <a:bodyPr/>
                    <a:lstStyle/>
                    <a:p>
                      <a:pPr algn="ctr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zacja robót budowlanych w trybie P&amp;B - "Prace na linii kolejowej C-E 65 na odc. Chorzów Batory - Nakło Śląskie" w ramach projektu pn. Prace na linii kolejowej C-E 65 na odc. Chorzów Batory - Tarnowskie Góry - Karsznice - Inowrocław - Bydgoszcz - Maksymilianowo</a:t>
                      </a:r>
                      <a:endParaRPr lang="pl-PL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39773">
                <a:tc vMerge="1">
                  <a:txBody>
                    <a:bodyPr/>
                    <a:lstStyle/>
                    <a:p>
                      <a:pPr algn="ctr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ctr" latinLnBrk="0" hangingPunct="1"/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lizacja robót budowlanych w trybie P&amp;B - "Prace na linii kolejowej C-E 65 na odc. Nakło Śląskie - Herby Nowe" w ramach projektu "Prace na linii kolejowej C-E 65 na </a:t>
                      </a:r>
                      <a:r>
                        <a:rPr lang="pl-PL" sz="10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dc</a:t>
                      </a:r>
                      <a:r>
                        <a:rPr lang="pl-PL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horzów Batory - Tarnowskie Góry - Karsznice - Inowrocław - Bydgoszcz - Maksymilianowo"</a:t>
                      </a:r>
                      <a:endParaRPr lang="pl-PL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797421">
                <a:tc vMerge="1">
                  <a:txBody>
                    <a:bodyPr/>
                    <a:lstStyle/>
                    <a:p>
                      <a:pPr algn="ctr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izacja robót budowlanych w trybie P&amp;B - "Prace na linii kolejowej C-E 65 na odc. Rusiec Łódzki - Zduńska Wola Karsznice" w ramach projektu "Prace na linii kolejowej C-E 65 na </a:t>
                      </a:r>
                      <a:r>
                        <a:rPr lang="pl-PL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c</a:t>
                      </a: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orzów Batory - Tarnowskie Góry - Karsznice - Inowrocław - Bydgoszcz - Maksymilianowo"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3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pole tekstowe 7"/>
          <p:cNvSpPr txBox="1"/>
          <p:nvPr/>
        </p:nvSpPr>
        <p:spPr>
          <a:xfrm>
            <a:off x="233772" y="1063628"/>
            <a:ext cx="7578588" cy="336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lanowane umowy do podpisania w 2018 r. o największych wartościach</a:t>
            </a:r>
          </a:p>
        </p:txBody>
      </p:sp>
      <p:sp>
        <p:nvSpPr>
          <p:cNvPr id="9" name="pole tekstowe 8"/>
          <p:cNvSpPr txBox="1"/>
          <p:nvPr/>
        </p:nvSpPr>
        <p:spPr>
          <a:xfrm>
            <a:off x="2123728" y="188640"/>
            <a:ext cx="27809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Umowy 2018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181683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 3"/>
          <p:cNvGrpSpPr/>
          <p:nvPr/>
        </p:nvGrpSpPr>
        <p:grpSpPr>
          <a:xfrm>
            <a:off x="1788671" y="6309320"/>
            <a:ext cx="5710674" cy="471956"/>
            <a:chOff x="2267744" y="5715487"/>
            <a:chExt cx="5710674" cy="471956"/>
          </a:xfrm>
        </p:grpSpPr>
        <p:pic>
          <p:nvPicPr>
            <p:cNvPr id="5" name="Obraz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6" name="Prostokąt 5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4891193"/>
              </p:ext>
            </p:extLst>
          </p:nvPr>
        </p:nvGraphicFramePr>
        <p:xfrm>
          <a:off x="300791" y="2420888"/>
          <a:ext cx="8686434" cy="2577438"/>
        </p:xfrm>
        <a:graphic>
          <a:graphicData uri="http://schemas.openxmlformats.org/drawingml/2006/table">
            <a:tbl>
              <a:tblPr/>
              <a:tblGrid>
                <a:gridCol w="345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850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600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0332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2749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Lp.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azwa zamówienia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zacunkowa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artość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mld PLN)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yp </a:t>
                      </a:r>
                      <a:b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pl-PL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jektu</a:t>
                      </a: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738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06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linii kolejowej nr 93 na odcinku Trzebinia – Oświęcim – Czechowice-Dziedzic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racowanie dokumentacji projektowej i wykonanie robót budowlano – montażowych w ramach zadania inwestycyjnego pod nazwą.: „Prace na linii kolejowej nr 93 Trzebinia - Zebrzydowice na odcinku Oświęcim – Czechowice Dziedzice” w ramach </a:t>
                      </a:r>
                      <a:r>
                        <a:rPr lang="pl-PL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IiŚ</a:t>
                      </a: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.1-12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ktuj i 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392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e na liniach kolejowych nr 97, 98, 99 na odcinku Skawina – Sucha Beskidzka – Chabówka – Zakopan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rnizacja linii kolejowej nr 99 Chabówka - Zakopane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ktuj i 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9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39211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410" marR="3410" marT="3410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pl-PL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prawa dostępu kolejowego do portu morskiego w Gdyni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y budowlane dla projektu "Poprawa dostępu kolejowego do portu morskiego w Gdyni" 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</a:t>
                      </a:r>
                      <a:endParaRPr lang="pl-PL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uj</a:t>
                      </a:r>
                      <a:endParaRPr lang="pl-PL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EBE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9" name="pole tekstowe 8"/>
          <p:cNvSpPr txBox="1"/>
          <p:nvPr/>
        </p:nvSpPr>
        <p:spPr>
          <a:xfrm>
            <a:off x="2123728" y="188640"/>
            <a:ext cx="27809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800" b="1" dirty="0" smtClean="0">
                <a:solidFill>
                  <a:prstClr val="white"/>
                </a:solidFill>
                <a:latin typeface="Arial" pitchFamily="34" charset="0"/>
                <a:ea typeface="+mj-ea"/>
              </a:rPr>
              <a:t>Umowy 2018 r. </a:t>
            </a:r>
            <a:endParaRPr lang="pl-PL" sz="2800" b="1" dirty="0">
              <a:solidFill>
                <a:prstClr val="white"/>
              </a:solidFill>
              <a:latin typeface="Arial" pitchFamily="34" charset="0"/>
              <a:ea typeface="+mj-ea"/>
            </a:endParaRPr>
          </a:p>
        </p:txBody>
      </p:sp>
      <p:sp>
        <p:nvSpPr>
          <p:cNvPr id="10" name="pole tekstowe 9"/>
          <p:cNvSpPr txBox="1"/>
          <p:nvPr/>
        </p:nvSpPr>
        <p:spPr>
          <a:xfrm>
            <a:off x="107504" y="1451544"/>
            <a:ext cx="7578588" cy="336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l-PL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lanowane umowy do podpisania w 2018 r. o największych wartościach</a:t>
            </a:r>
          </a:p>
        </p:txBody>
      </p:sp>
    </p:spTree>
    <p:extLst>
      <p:ext uri="{BB962C8B-B14F-4D97-AF65-F5344CB8AC3E}">
        <p14:creationId xmlns:p14="http://schemas.microsoft.com/office/powerpoint/2010/main" val="232102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50377" y="3573016"/>
            <a:ext cx="5643246" cy="91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7500"/>
          <a:lstStyle>
            <a:lvl1pPr marL="231775" indent="-231775" algn="l" eaLnBrk="0" hangingPunct="0">
              <a:spcAft>
                <a:spcPct val="50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66725" indent="-233363" algn="l" eaLnBrk="0" hangingPunct="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688975" indent="-220663" algn="l" eaLnBrk="0" hangingPunct="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919163" indent="-228600" algn="l" eaLnBrk="0" hangingPunct="0">
              <a:spcAft>
                <a:spcPct val="500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149350" indent="-228600" algn="l" eaLnBrk="0" hangingPunct="0"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6065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0637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209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7815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ctr">
              <a:spcAft>
                <a:spcPts val="675"/>
              </a:spcAft>
              <a:buClr>
                <a:srgbClr val="002060"/>
              </a:buClr>
              <a:buNone/>
            </a:pPr>
            <a:r>
              <a:rPr lang="pl-PL" sz="3200" b="1" dirty="0" smtClean="0">
                <a:solidFill>
                  <a:srgbClr val="073872"/>
                </a:solidFill>
              </a:rPr>
              <a:t>Dziękujemy za uwagę</a:t>
            </a:r>
          </a:p>
          <a:p>
            <a:pPr marL="0" indent="0" algn="ctr">
              <a:spcAft>
                <a:spcPts val="675"/>
              </a:spcAft>
              <a:buClr>
                <a:srgbClr val="002060"/>
              </a:buClr>
              <a:buNone/>
            </a:pPr>
            <a:endParaRPr lang="pl-PL" sz="3200" b="1" dirty="0" smtClean="0">
              <a:solidFill>
                <a:srgbClr val="073872"/>
              </a:solidFill>
            </a:endParaRPr>
          </a:p>
          <a:p>
            <a:pPr marL="0" indent="0" algn="ctr">
              <a:spcAft>
                <a:spcPts val="675"/>
              </a:spcAft>
              <a:buClr>
                <a:srgbClr val="002060"/>
              </a:buClr>
              <a:buNone/>
            </a:pPr>
            <a:endParaRPr lang="pl-PL" sz="3200" b="1" dirty="0">
              <a:solidFill>
                <a:srgbClr val="073872"/>
              </a:solidFill>
            </a:endParaRPr>
          </a:p>
        </p:txBody>
      </p:sp>
      <p:pic>
        <p:nvPicPr>
          <p:cNvPr id="6" name="Obraz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884" y="1435110"/>
            <a:ext cx="1976232" cy="346707"/>
          </a:xfrm>
          <a:prstGeom prst="rect">
            <a:avLst/>
          </a:prstGeom>
        </p:spPr>
      </p:pic>
      <p:grpSp>
        <p:nvGrpSpPr>
          <p:cNvPr id="5" name="Grupa 4"/>
          <p:cNvGrpSpPr/>
          <p:nvPr/>
        </p:nvGrpSpPr>
        <p:grpSpPr>
          <a:xfrm>
            <a:off x="1774466" y="6253899"/>
            <a:ext cx="5710674" cy="471956"/>
            <a:chOff x="2267744" y="5715487"/>
            <a:chExt cx="5710674" cy="471956"/>
          </a:xfrm>
        </p:grpSpPr>
        <p:pic>
          <p:nvPicPr>
            <p:cNvPr id="7" name="Obraz 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7744" y="5715487"/>
              <a:ext cx="5710674" cy="471956"/>
            </a:xfrm>
            <a:prstGeom prst="rect">
              <a:avLst/>
            </a:prstGeom>
          </p:spPr>
        </p:pic>
        <p:sp>
          <p:nvSpPr>
            <p:cNvPr id="8" name="Prostokąt 7"/>
            <p:cNvSpPr/>
            <p:nvPr/>
          </p:nvSpPr>
          <p:spPr>
            <a:xfrm>
              <a:off x="4067944" y="5715487"/>
              <a:ext cx="2016224" cy="4719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253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g0GiP.jFk.4_Pp.fgqCuw"/>
</p:tagLst>
</file>

<file path=ppt/theme/theme1.xml><?xml version="1.0" encoding="utf-8"?>
<a:theme xmlns:a="http://schemas.openxmlformats.org/drawingml/2006/main" name="Motyw pakietu Office">
  <a:themeElements>
    <a:clrScheme name="PLK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004D84"/>
      </a:accent1>
      <a:accent2>
        <a:srgbClr val="FFC000"/>
      </a:accent2>
      <a:accent3>
        <a:srgbClr val="D9DADA"/>
      </a:accent3>
      <a:accent4>
        <a:srgbClr val="BCB37A"/>
      </a:accent4>
      <a:accent5>
        <a:srgbClr val="97720B"/>
      </a:accent5>
      <a:accent6>
        <a:srgbClr val="000000"/>
      </a:accent6>
      <a:hlink>
        <a:srgbClr val="004D84"/>
      </a:hlink>
      <a:folHlink>
        <a:srgbClr val="FDC90C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bg1">
              <a:lumMod val="50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0</Words>
  <Application>Microsoft Office PowerPoint</Application>
  <PresentationFormat>Pokaz na ekranie (4:3)</PresentationFormat>
  <Paragraphs>146</Paragraphs>
  <Slides>8</Slides>
  <Notes>2</Notes>
  <HiddenSlides>0</HiddenSlides>
  <MMClips>0</MMClips>
  <ScaleCrop>false</ScaleCrop>
  <HeadingPairs>
    <vt:vector size="4" baseType="variant">
      <vt:variant>
        <vt:lpstr>Motyw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9" baseType="lpstr">
      <vt:lpstr>Motyw pakietu Offic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12-11T13:10:27Z</dcterms:created>
  <dcterms:modified xsi:type="dcterms:W3CDTF">2018-01-11T08:59:24Z</dcterms:modified>
</cp:coreProperties>
</file>